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7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7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5">
            <a:extLst>
              <a:ext uri="{FF2B5EF4-FFF2-40B4-BE49-F238E27FC236}">
                <a16:creationId xmlns:a16="http://schemas.microsoft.com/office/drawing/2014/main" id="{069D18EF-D2FF-4959-A015-909D2D99FF9D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773238"/>
            <a:ext cx="7991475" cy="4073525"/>
            <a:chOff x="647700" y="1900238"/>
            <a:chExt cx="7991475" cy="3946525"/>
          </a:xfrm>
        </p:grpSpPr>
        <p:sp>
          <p:nvSpPr>
            <p:cNvPr id="17" name="Rechteck 3">
              <a:extLst>
                <a:ext uri="{FF2B5EF4-FFF2-40B4-BE49-F238E27FC236}">
                  <a16:creationId xmlns:a16="http://schemas.microsoft.com/office/drawing/2014/main" id="{C20D7B70-1334-487A-8992-C3374B0F5829}"/>
                </a:ext>
              </a:extLst>
            </p:cNvPr>
            <p:cNvSpPr/>
            <p:nvPr/>
          </p:nvSpPr>
          <p:spPr>
            <a:xfrm>
              <a:off x="647700" y="1912542"/>
              <a:ext cx="3889375" cy="395267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latin typeface="Arial"/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latin typeface="Arial"/>
                <a:ea typeface="MS PGothic" pitchFamily="34" charset="-128"/>
              </a:endParaRPr>
            </a:p>
          </p:txBody>
        </p:sp>
        <p:sp>
          <p:nvSpPr>
            <p:cNvPr id="18" name="Rechteck 4">
              <a:extLst>
                <a:ext uri="{FF2B5EF4-FFF2-40B4-BE49-F238E27FC236}">
                  <a16:creationId xmlns:a16="http://schemas.microsoft.com/office/drawing/2014/main" id="{C21ED640-0A83-431E-8665-27A23954E1B8}"/>
                </a:ext>
              </a:extLst>
            </p:cNvPr>
            <p:cNvSpPr>
              <a:spLocks/>
            </p:cNvSpPr>
            <p:nvPr/>
          </p:nvSpPr>
          <p:spPr>
            <a:xfrm>
              <a:off x="647700" y="2307809"/>
              <a:ext cx="3889375" cy="3538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19" name="Rechteck 11">
              <a:extLst>
                <a:ext uri="{FF2B5EF4-FFF2-40B4-BE49-F238E27FC236}">
                  <a16:creationId xmlns:a16="http://schemas.microsoft.com/office/drawing/2014/main" id="{7D277E89-FEF8-4C66-96B5-9CBB3D6CFDFE}"/>
                </a:ext>
              </a:extLst>
            </p:cNvPr>
            <p:cNvSpPr/>
            <p:nvPr/>
          </p:nvSpPr>
          <p:spPr>
            <a:xfrm>
              <a:off x="4749800" y="1900238"/>
              <a:ext cx="3889375" cy="40757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ts val="300"/>
                </a:spcBef>
                <a:buSzPct val="100000"/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latin typeface="Arial"/>
                </a:rPr>
                <a:t>DESCRIPTION</a:t>
              </a:r>
            </a:p>
          </p:txBody>
        </p:sp>
        <p:sp>
          <p:nvSpPr>
            <p:cNvPr id="20" name="Rechteck 12">
              <a:extLst>
                <a:ext uri="{FF2B5EF4-FFF2-40B4-BE49-F238E27FC236}">
                  <a16:creationId xmlns:a16="http://schemas.microsoft.com/office/drawing/2014/main" id="{94D27B2B-C98E-4F7C-A00D-DC4DD63F5112}"/>
                </a:ext>
              </a:extLst>
            </p:cNvPr>
            <p:cNvSpPr>
              <a:spLocks/>
            </p:cNvSpPr>
            <p:nvPr/>
          </p:nvSpPr>
          <p:spPr>
            <a:xfrm>
              <a:off x="4749800" y="2304733"/>
              <a:ext cx="3889375" cy="35420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20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33698B71-2FB4-4226-A7AD-72BDEC9214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33698B71-2FB4-4226-A7AD-72BDEC9214B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45D9C67B-8630-4647-BACC-3F3E5B44C9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fr-FR" altLang="en-US" dirty="0"/>
              <a:t>Gérez votre équipement en toute sécurité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D251A0CB-5317-41EF-8BDE-6DF4EB48FC52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2938" y="1476375"/>
            <a:ext cx="7997825" cy="277813"/>
          </a:xfrm>
        </p:spPr>
        <p:txBody>
          <a:bodyPr>
            <a:spAutoFit/>
          </a:bodyPr>
          <a:lstStyle/>
          <a:p>
            <a:r>
              <a:rPr lang="fr-FR" altLang="en-US" dirty="0"/>
              <a:t>HMI version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4EDEFFFB-BAA5-4DBC-AD11-333C317D8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62ECE84-2766-4C13-A519-6222D7B78CD5}"/>
              </a:ext>
            </a:extLst>
          </p:cNvPr>
          <p:cNvSpPr txBox="1">
            <a:spLocks/>
          </p:cNvSpPr>
          <p:nvPr/>
        </p:nvSpPr>
        <p:spPr>
          <a:xfrm>
            <a:off x="642938" y="5891275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 err="1"/>
              <a:t>Valeur</a:t>
            </a:r>
            <a:r>
              <a:rPr sz="800" kern="0" dirty="0"/>
              <a:t> : </a:t>
            </a:r>
            <a:r>
              <a:rPr lang="fr-FR" sz="800" kern="0" dirty="0">
                <a:solidFill>
                  <a:srgbClr val="000000"/>
                </a:solidFill>
              </a:rPr>
              <a:t>Obsolescence, </a:t>
            </a:r>
            <a:r>
              <a:rPr sz="800" kern="0" dirty="0" err="1"/>
              <a:t>Rendement</a:t>
            </a:r>
            <a:r>
              <a:rPr sz="800" kern="0" dirty="0"/>
              <a:t>, </a:t>
            </a:r>
            <a:r>
              <a:rPr lang="fr-FR" sz="800" kern="0" dirty="0"/>
              <a:t>O</a:t>
            </a:r>
            <a:r>
              <a:rPr lang="en-US" sz="800" kern="0" dirty="0" err="1">
                <a:solidFill>
                  <a:srgbClr val="000000"/>
                </a:solidFill>
              </a:rPr>
              <a:t>ptimisation</a:t>
            </a:r>
            <a:r>
              <a:rPr lang="en-US" sz="800" kern="0" dirty="0">
                <a:solidFill>
                  <a:srgbClr val="000000"/>
                </a:solidFill>
              </a:rPr>
              <a:t> des </a:t>
            </a:r>
            <a:r>
              <a:rPr lang="en-US" sz="800" kern="0" dirty="0" err="1">
                <a:solidFill>
                  <a:srgbClr val="000000"/>
                </a:solidFill>
              </a:rPr>
              <a:t>coûts</a:t>
            </a:r>
            <a:endParaRPr sz="800" kern="0" dirty="0"/>
          </a:p>
          <a:p>
            <a:pPr>
              <a:defRPr/>
            </a:pPr>
            <a:r>
              <a:rPr sz="800" kern="0" dirty="0" err="1"/>
              <a:t>Équipements</a:t>
            </a:r>
            <a:r>
              <a:rPr sz="800" kern="0" dirty="0"/>
              <a:t> : </a:t>
            </a:r>
            <a:r>
              <a:rPr lang="fr-FR" sz="800" kern="0" dirty="0"/>
              <a:t>Toutes les remplisseuses mécaniques avec un Panel PC</a:t>
            </a:r>
            <a:endParaRPr sz="800" kern="0" dirty="0"/>
          </a:p>
          <a:p>
            <a:pPr>
              <a:defRPr/>
            </a:pPr>
            <a:r>
              <a:rPr sz="800" kern="0" dirty="0"/>
              <a:t>Code catalogue : </a:t>
            </a:r>
            <a:r>
              <a:rPr lang="fr-FR" sz="800" kern="0" dirty="0"/>
              <a:t>HS130</a:t>
            </a:r>
            <a:endParaRPr sz="800" kern="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B96BA9-A220-4B77-B344-9F59E705B0F3}"/>
              </a:ext>
            </a:extLst>
          </p:cNvPr>
          <p:cNvSpPr/>
          <p:nvPr/>
        </p:nvSpPr>
        <p:spPr>
          <a:xfrm>
            <a:off x="642938" y="2205129"/>
            <a:ext cx="3889375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Empêche les temps d'arrêt plus longs en cas de panne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Fonctionnalités de cybersécurité améliorées disponibles grâce à W10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20% plus rapide sur le démarrage du système et les opérations tactiles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Amélioration de la qualité d'image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Meilleure résistance à la chaleur;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fr-FR" sz="1150" dirty="0"/>
              <a:t>Augmente les performances et réduit les coûts de maintenance</a:t>
            </a:r>
          </a:p>
          <a:p>
            <a:pPr marL="171450" indent="-171450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sz="1200" dirty="0"/>
          </a:p>
          <a:p>
            <a:pPr>
              <a:buClr>
                <a:srgbClr val="FF0000"/>
              </a:buClr>
            </a:pPr>
            <a:r>
              <a:rPr lang="fr-FR" sz="1200" b="1" dirty="0"/>
              <a:t>Il est temps de passer à Windows 10!</a:t>
            </a:r>
            <a:endParaRPr lang="fr-FR" sz="1200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76F225F-9C94-4FC9-9348-4C1272022B8A}"/>
              </a:ext>
            </a:extLst>
          </p:cNvPr>
          <p:cNvSpPr/>
          <p:nvPr/>
        </p:nvSpPr>
        <p:spPr>
          <a:xfrm>
            <a:off x="4751389" y="2259383"/>
            <a:ext cx="3858418" cy="19416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Le nouveau système avec panneau IHM B&amp;R 3100, basé sur Windows 10, se compose d'une nouvelle IHM plug &amp; </a:t>
            </a:r>
            <a:r>
              <a:rPr lang="fr-FR" sz="1150" dirty="0" err="1">
                <a:solidFill>
                  <a:srgbClr val="000000"/>
                </a:solidFill>
              </a:rPr>
              <a:t>play</a:t>
            </a:r>
            <a:r>
              <a:rPr lang="fr-FR" sz="1150" dirty="0">
                <a:solidFill>
                  <a:srgbClr val="000000"/>
                </a:solidFill>
              </a:rPr>
              <a:t> avec la même taille d'écran basée sur Windows 10. Il inclut le chiffrement de sauvegarde logicielle et le portage de la plate-forme existante (WCE, W7…) vers W10.</a:t>
            </a:r>
          </a:p>
          <a:p>
            <a:pPr marL="17145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fr-FR" sz="1150" dirty="0">
                <a:solidFill>
                  <a:srgbClr val="000000"/>
                </a:solidFill>
              </a:rPr>
              <a:t>Aucune modification ne sera appliquée à la mise en page graphique, ne sera effectuée qu'une conversion. Il comprend le matériel et le document avec les procédures d'installation. </a:t>
            </a:r>
          </a:p>
        </p:txBody>
      </p:sp>
      <p:pic>
        <p:nvPicPr>
          <p:cNvPr id="24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1011915E-781F-4B2E-8122-265D275DF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48363" y="4714897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">
            <a:extLst>
              <a:ext uri="{FF2B5EF4-FFF2-40B4-BE49-F238E27FC236}">
                <a16:creationId xmlns:a16="http://schemas.microsoft.com/office/drawing/2014/main" id="{0AB95EED-7775-4E05-A6C6-E4EAB6546C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8727" y="5629086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100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CE5A943-2A68-403B-BC38-5BCBDECEE74F}"/>
              </a:ext>
            </a:extLst>
          </p:cNvPr>
          <p:cNvGrpSpPr/>
          <p:nvPr/>
        </p:nvGrpSpPr>
        <p:grpSpPr>
          <a:xfrm>
            <a:off x="6665815" y="4714897"/>
            <a:ext cx="1359830" cy="1002610"/>
            <a:chOff x="3082570" y="2077724"/>
            <a:chExt cx="2443653" cy="1631023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74E7F72B-B462-4CBD-9670-871E1D7E4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44BBD8D-0964-4521-9DC2-411AB97DD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9" name="Titel 1">
            <a:extLst>
              <a:ext uri="{FF2B5EF4-FFF2-40B4-BE49-F238E27FC236}">
                <a16:creationId xmlns:a16="http://schemas.microsoft.com/office/drawing/2014/main" id="{B174B252-9DFB-45BD-A480-D89AAC988D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0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2C4408A4-B4C5-4FE2-A767-95B1F73F6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FECC2D2A-5360-48E3-8B86-9B487E4804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27">
            <a:extLst>
              <a:ext uri="{FF2B5EF4-FFF2-40B4-BE49-F238E27FC236}">
                <a16:creationId xmlns:a16="http://schemas.microsoft.com/office/drawing/2014/main" id="{9F94C4B8-3E54-49CC-93EE-D3ECF35E04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>
            <a:extLst>
              <a:ext uri="{FF2B5EF4-FFF2-40B4-BE49-F238E27FC236}">
                <a16:creationId xmlns:a16="http://schemas.microsoft.com/office/drawing/2014/main" id="{E115A7C9-62A0-4799-A18C-8B92243FAB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041A48D7-88DE-4427-9306-5143642764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id="{A9F3689F-14BE-4352-A4C1-D326301272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900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54</TotalTime>
  <Words>174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Gérez votre équipement en toute sécurité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1</cp:revision>
  <dcterms:created xsi:type="dcterms:W3CDTF">2018-02-10T17:04:39Z</dcterms:created>
  <dcterms:modified xsi:type="dcterms:W3CDTF">2021-05-18T11:5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1:50:17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